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9" r:id="rId4"/>
    <p:sldId id="260" r:id="rId5"/>
    <p:sldId id="261" r:id="rId6"/>
    <p:sldId id="258" r:id="rId7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38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pattFill prst="ltUpDiag">
              <a:fgClr>
                <a:schemeClr val="bg1">
                  <a:lumMod val="9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D756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2C-4447-A067-85969142ECDC}"/>
              </c:ext>
            </c:extLst>
          </c:dPt>
          <c:dPt>
            <c:idx val="1"/>
            <c:bubble3D val="0"/>
            <c:spPr>
              <a:solidFill>
                <a:srgbClr val="F2A06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2C-4447-A067-85969142ECDC}"/>
              </c:ext>
            </c:extLst>
          </c:dPt>
          <c:dPt>
            <c:idx val="2"/>
            <c:bubble3D val="0"/>
            <c:spPr>
              <a:solidFill>
                <a:srgbClr val="3EE2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2C-4447-A067-85969142ECDC}"/>
              </c:ext>
            </c:extLst>
          </c:dPt>
          <c:dPt>
            <c:idx val="3"/>
            <c:bubble3D val="0"/>
            <c:spPr>
              <a:solidFill>
                <a:srgbClr val="6F52A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2C-4447-A067-85969142ECDC}"/>
              </c:ext>
            </c:extLst>
          </c:dPt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 smtClean="0"/>
                      <a:t>2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42C-4447-A067-85969142EC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800" b="1">
                    <a:solidFill>
                      <a:schemeClr val="bg1"/>
                    </a:solidFill>
                    <a:effectLst>
                      <a:outerShdw blurRad="1143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42C-4447-A067-85969142EC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CO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5083609208188696E-4"/>
          <c:w val="0.99972722142351778"/>
          <c:h val="0.999832011067121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9525"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0070C0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E21-4CC1-BF6F-C34FDBF56C1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21-4CC1-BF6F-C34FDBF56C1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21-4CC1-BF6F-C34FDBF56C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377571213194735E-3"/>
          <c:w val="0.99090399337127022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1A7F1"/>
            </a:solidFill>
            <a:ln w="9525">
              <a:noFill/>
            </a:ln>
          </c:spPr>
          <c:dPt>
            <c:idx val="0"/>
            <c:bubble3D val="0"/>
            <c:spPr>
              <a:solidFill>
                <a:srgbClr val="92D050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911-483C-8E2B-09B157A2D999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911-483C-8E2B-09B157A2D99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11-483C-8E2B-09B157A2D9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6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45938726638012E-2"/>
          <c:y val="4.6188302314852658E-3"/>
          <c:w val="0.97991780377249127"/>
          <c:h val="0.9953810827688908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19B5FE"/>
            </a:solidFill>
            <a:ln w="6350"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B32-4352-B378-33F5E3FCBC37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B32-4352-B378-33F5E3FCBC3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5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B32-4352-B378-33F5E3FCB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1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243938469566679E-3"/>
          <c:y val="6.1087766284940274E-3"/>
          <c:w val="0.98495121230608673"/>
          <c:h val="0.9877824467430120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3A5B7"/>
            </a:solidFill>
            <a:ln w="9525">
              <a:noFill/>
            </a:ln>
          </c:spPr>
          <c:explosion val="1"/>
          <c:dPt>
            <c:idx val="0"/>
            <c:bubble3D val="0"/>
            <c:spPr>
              <a:solidFill>
                <a:srgbClr val="C00000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6A2-40DB-B073-AE8A9C384A11}"/>
              </c:ext>
            </c:extLst>
          </c:dPt>
          <c:dPt>
            <c:idx val="1"/>
            <c:bubble3D val="0"/>
            <c:spPr>
              <a:solidFill>
                <a:srgbClr val="E7E6E6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6A2-40DB-B073-AE8A9C384A1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A2-40DB-B073-AE8A9C384A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391467" y="4348064"/>
            <a:ext cx="5411758" cy="1334278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6391468" y="5682342"/>
            <a:ext cx="5411758" cy="522092"/>
          </a:xfrm>
        </p:spPr>
        <p:txBody>
          <a:bodyPr>
            <a:normAutofit/>
          </a:bodyPr>
          <a:lstStyle>
            <a:lvl1pPr marL="0" indent="0" algn="l">
              <a:buNone/>
              <a:defRPr sz="1800" i="1" u="none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 smtClean="0"/>
              <a:t>Haga clic para editar el estilo de subtítulo del patrón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954785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74630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73038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765188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38538" y="365125"/>
            <a:ext cx="7060941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81938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0077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79961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87898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63837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952950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2376132"/>
            <a:ext cx="5181600" cy="4108646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2376132"/>
            <a:ext cx="5181600" cy="4108646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93933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812989"/>
            <a:ext cx="10515600" cy="126725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2129027"/>
            <a:ext cx="5157787" cy="78766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952939"/>
            <a:ext cx="5157787" cy="3522506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2129027"/>
            <a:ext cx="5183188" cy="80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952939"/>
            <a:ext cx="5183188" cy="3522506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427844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29399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F0FCD54-9834-4BE8-9B5B-EEF02B5391B3}" type="datetimeFigureOut">
              <a:rPr lang="es-CO" smtClean="0"/>
              <a:t>14/01/2019</a:t>
            </a:fld>
            <a:endParaRPr lang="es-CO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1EAACC5-580A-406C-9362-EA1B95EDA8C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44474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7989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138216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2842662"/>
            <a:ext cx="10515600" cy="38287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6397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0000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7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.xml"/><Relationship Id="rId9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38273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3470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69"/>
          <p:cNvGrpSpPr/>
          <p:nvPr/>
        </p:nvGrpSpPr>
        <p:grpSpPr>
          <a:xfrm>
            <a:off x="3416371" y="1427419"/>
            <a:ext cx="5139801" cy="4861547"/>
            <a:chOff x="780806" y="1349172"/>
            <a:chExt cx="4286414" cy="4054359"/>
          </a:xfrm>
        </p:grpSpPr>
        <p:sp>
          <p:nvSpPr>
            <p:cNvPr id="6" name="Teardrop 70"/>
            <p:cNvSpPr/>
            <p:nvPr/>
          </p:nvSpPr>
          <p:spPr>
            <a:xfrm flipH="1" flipV="1">
              <a:off x="3019592" y="1349172"/>
              <a:ext cx="1961821" cy="1961821"/>
            </a:xfrm>
            <a:prstGeom prst="teardrop">
              <a:avLst/>
            </a:prstGeom>
            <a:solidFill>
              <a:srgbClr val="E7484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7" name="Teardrop 71"/>
            <p:cNvSpPr/>
            <p:nvPr/>
          </p:nvSpPr>
          <p:spPr>
            <a:xfrm flipV="1">
              <a:off x="885992" y="1349172"/>
              <a:ext cx="1961821" cy="1961821"/>
            </a:xfrm>
            <a:prstGeom prst="teardrop">
              <a:avLst/>
            </a:prstGeom>
            <a:solidFill>
              <a:srgbClr val="4B377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8" name="Teardrop 72"/>
            <p:cNvSpPr/>
            <p:nvPr/>
          </p:nvSpPr>
          <p:spPr>
            <a:xfrm flipH="1">
              <a:off x="3019592" y="3441710"/>
              <a:ext cx="1961821" cy="1961821"/>
            </a:xfrm>
            <a:prstGeom prst="teardrop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9" name="Teardrop 73"/>
            <p:cNvSpPr/>
            <p:nvPr/>
          </p:nvSpPr>
          <p:spPr>
            <a:xfrm>
              <a:off x="885992" y="3441710"/>
              <a:ext cx="1961821" cy="1961821"/>
            </a:xfrm>
            <a:prstGeom prst="teardrop">
              <a:avLst/>
            </a:prstGeom>
            <a:solidFill>
              <a:srgbClr val="1CBB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graphicFrame>
          <p:nvGraphicFramePr>
            <p:cNvPr id="10" name="Chart 74"/>
            <p:cNvGraphicFramePr/>
            <p:nvPr>
              <p:extLst>
                <p:ext uri="{D42A27DB-BD31-4B8C-83A1-F6EECF244321}">
                  <p14:modId xmlns:p14="http://schemas.microsoft.com/office/powerpoint/2010/main" val="4107576967"/>
                </p:ext>
              </p:extLst>
            </p:nvPr>
          </p:nvGraphicFramePr>
          <p:xfrm>
            <a:off x="780806" y="1906050"/>
            <a:ext cx="4286414" cy="28576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1" name="Rectangle 75"/>
            <p:cNvSpPr/>
            <p:nvPr>
              <p:custDataLst>
                <p:tags r:id="rId1"/>
              </p:custDataLst>
            </p:nvPr>
          </p:nvSpPr>
          <p:spPr>
            <a:xfrm>
              <a:off x="1122693" y="2053753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and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" name="Rectangle 76"/>
            <p:cNvSpPr/>
            <p:nvPr>
              <p:custDataLst>
                <p:tags r:id="rId2"/>
              </p:custDataLst>
            </p:nvPr>
          </p:nvSpPr>
          <p:spPr>
            <a:xfrm>
              <a:off x="1122693" y="4225351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and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3" name="Rectangle 77"/>
            <p:cNvSpPr/>
            <p:nvPr>
              <p:custDataLst>
                <p:tags r:id="rId3"/>
              </p:custDataLst>
            </p:nvPr>
          </p:nvSpPr>
          <p:spPr>
            <a:xfrm>
              <a:off x="3360932" y="2053753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</a:t>
              </a:r>
              <a:r>
                <a:rPr lang="en-US" sz="1050" dirty="0" err="1">
                  <a:solidFill>
                    <a:schemeClr val="bg1"/>
                  </a:solidFill>
                  <a:latin typeface="Arial Narrow" panose="020B0606020202030204" pitchFamily="34" charset="0"/>
                </a:rPr>
                <a:t>nd</a:t>
              </a:r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" name="Rectangle 78"/>
            <p:cNvSpPr/>
            <p:nvPr>
              <p:custDataLst>
                <p:tags r:id="rId4"/>
              </p:custDataLst>
            </p:nvPr>
          </p:nvSpPr>
          <p:spPr>
            <a:xfrm>
              <a:off x="3360932" y="4225351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and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638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59"/>
          <p:cNvGrpSpPr/>
          <p:nvPr/>
        </p:nvGrpSpPr>
        <p:grpSpPr>
          <a:xfrm>
            <a:off x="638022" y="1800245"/>
            <a:ext cx="10645634" cy="4542502"/>
            <a:chOff x="773183" y="1359402"/>
            <a:chExt cx="10645634" cy="4542502"/>
          </a:xfrm>
        </p:grpSpPr>
        <p:grpSp>
          <p:nvGrpSpPr>
            <p:cNvPr id="5" name="Group 69"/>
            <p:cNvGrpSpPr/>
            <p:nvPr/>
          </p:nvGrpSpPr>
          <p:grpSpPr>
            <a:xfrm>
              <a:off x="3824748" y="1359402"/>
              <a:ext cx="4542505" cy="4542502"/>
              <a:chOff x="1600356" y="1567251"/>
              <a:chExt cx="3292072" cy="3292070"/>
            </a:xfrm>
          </p:grpSpPr>
          <p:sp>
            <p:nvSpPr>
              <p:cNvPr id="37" name="Oval 44"/>
              <p:cNvSpPr/>
              <p:nvPr/>
            </p:nvSpPr>
            <p:spPr>
              <a:xfrm>
                <a:off x="1600356" y="1567251"/>
                <a:ext cx="3292072" cy="3292070"/>
              </a:xfrm>
              <a:prstGeom prst="ellipse">
                <a:avLst/>
              </a:prstGeom>
              <a:solidFill>
                <a:schemeClr val="bg2"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aphicFrame>
            <p:nvGraphicFramePr>
              <p:cNvPr id="38" name="Chart 45"/>
              <p:cNvGraphicFramePr/>
              <p:nvPr>
                <p:extLst>
                  <p:ext uri="{D42A27DB-BD31-4B8C-83A1-F6EECF244321}">
                    <p14:modId xmlns:p14="http://schemas.microsoft.com/office/powerpoint/2010/main" val="954373633"/>
                  </p:ext>
                </p:extLst>
              </p:nvPr>
            </p:nvGraphicFramePr>
            <p:xfrm>
              <a:off x="1679865" y="1647140"/>
              <a:ext cx="3132674" cy="313229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graphicFrame>
            <p:nvGraphicFramePr>
              <p:cNvPr id="39" name="Chart 46"/>
              <p:cNvGraphicFramePr/>
              <p:nvPr>
                <p:extLst>
                  <p:ext uri="{D42A27DB-BD31-4B8C-83A1-F6EECF244321}">
                    <p14:modId xmlns:p14="http://schemas.microsoft.com/office/powerpoint/2010/main" val="563369309"/>
                  </p:ext>
                </p:extLst>
              </p:nvPr>
            </p:nvGraphicFramePr>
            <p:xfrm>
              <a:off x="1919939" y="1889187"/>
              <a:ext cx="2652525" cy="264819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graphicFrame>
            <p:nvGraphicFramePr>
              <p:cNvPr id="40" name="Chart 47"/>
              <p:cNvGraphicFramePr/>
              <p:nvPr>
                <p:extLst>
                  <p:ext uri="{D42A27DB-BD31-4B8C-83A1-F6EECF244321}">
                    <p14:modId xmlns:p14="http://schemas.microsoft.com/office/powerpoint/2010/main" val="2017125904"/>
                  </p:ext>
                </p:extLst>
              </p:nvPr>
            </p:nvGraphicFramePr>
            <p:xfrm>
              <a:off x="2169888" y="2147601"/>
              <a:ext cx="2152627" cy="211918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graphicFrame>
            <p:nvGraphicFramePr>
              <p:cNvPr id="41" name="Chart 48"/>
              <p:cNvGraphicFramePr/>
              <p:nvPr>
                <p:extLst>
                  <p:ext uri="{D42A27DB-BD31-4B8C-83A1-F6EECF244321}">
                    <p14:modId xmlns:p14="http://schemas.microsoft.com/office/powerpoint/2010/main" val="559299645"/>
                  </p:ext>
                </p:extLst>
              </p:nvPr>
            </p:nvGraphicFramePr>
            <p:xfrm>
              <a:off x="2476971" y="2444230"/>
              <a:ext cx="1538459" cy="15340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  <p:sp>
            <p:nvSpPr>
              <p:cNvPr id="42" name="Freeform 61"/>
              <p:cNvSpPr/>
              <p:nvPr/>
            </p:nvSpPr>
            <p:spPr>
              <a:xfrm flipH="1">
                <a:off x="2815709" y="2785210"/>
                <a:ext cx="847016" cy="846938"/>
              </a:xfrm>
              <a:custGeom>
                <a:avLst/>
                <a:gdLst>
                  <a:gd name="connsiteX0" fmla="*/ 600652 w 1201304"/>
                  <a:gd name="connsiteY0" fmla="*/ 0 h 1201194"/>
                  <a:gd name="connsiteX1" fmla="*/ 1201304 w 1201304"/>
                  <a:gd name="connsiteY1" fmla="*/ 600652 h 1201194"/>
                  <a:gd name="connsiteX2" fmla="*/ 721704 w 1201304"/>
                  <a:gd name="connsiteY2" fmla="*/ 1189101 h 1201194"/>
                  <a:gd name="connsiteX3" fmla="*/ 601749 w 1201304"/>
                  <a:gd name="connsiteY3" fmla="*/ 1201194 h 1201194"/>
                  <a:gd name="connsiteX4" fmla="*/ 601749 w 1201304"/>
                  <a:gd name="connsiteY4" fmla="*/ 612284 h 1201194"/>
                  <a:gd name="connsiteX5" fmla="*/ 601749 w 1201304"/>
                  <a:gd name="connsiteY5" fmla="*/ 600652 h 1201194"/>
                  <a:gd name="connsiteX6" fmla="*/ 0 w 1201304"/>
                  <a:gd name="connsiteY6" fmla="*/ 600652 h 1201194"/>
                  <a:gd name="connsiteX7" fmla="*/ 600652 w 1201304"/>
                  <a:gd name="connsiteY7" fmla="*/ 0 h 120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1304" h="1201194">
                    <a:moveTo>
                      <a:pt x="600652" y="0"/>
                    </a:moveTo>
                    <a:cubicBezTo>
                      <a:pt x="932383" y="0"/>
                      <a:pt x="1201304" y="268921"/>
                      <a:pt x="1201304" y="600652"/>
                    </a:cubicBezTo>
                    <a:cubicBezTo>
                      <a:pt x="1201304" y="890917"/>
                      <a:pt x="995412" y="1133092"/>
                      <a:pt x="721704" y="1189101"/>
                    </a:cubicBezTo>
                    <a:lnTo>
                      <a:pt x="601749" y="1201194"/>
                    </a:lnTo>
                    <a:lnTo>
                      <a:pt x="601749" y="612284"/>
                    </a:lnTo>
                    <a:lnTo>
                      <a:pt x="601749" y="600652"/>
                    </a:lnTo>
                    <a:lnTo>
                      <a:pt x="0" y="600652"/>
                    </a:lnTo>
                    <a:cubicBezTo>
                      <a:pt x="0" y="268921"/>
                      <a:pt x="268921" y="0"/>
                      <a:pt x="600652" y="0"/>
                    </a:cubicBezTo>
                    <a:close/>
                  </a:path>
                </a:pathLst>
              </a:custGeom>
              <a:solidFill>
                <a:schemeClr val="bg1">
                  <a:alpha val="3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Freeform 62"/>
              <p:cNvSpPr/>
              <p:nvPr/>
            </p:nvSpPr>
            <p:spPr>
              <a:xfrm flipH="1">
                <a:off x="3234527" y="3206421"/>
                <a:ext cx="1576796" cy="1569361"/>
              </a:xfrm>
              <a:custGeom>
                <a:avLst/>
                <a:gdLst>
                  <a:gd name="connsiteX0" fmla="*/ 588 w 1872760"/>
                  <a:gd name="connsiteY0" fmla="*/ 0 h 1884391"/>
                  <a:gd name="connsiteX1" fmla="*/ 1271011 w 1872760"/>
                  <a:gd name="connsiteY1" fmla="*/ 0 h 1884391"/>
                  <a:gd name="connsiteX2" fmla="*/ 1871663 w 1872760"/>
                  <a:gd name="connsiteY2" fmla="*/ 600652 h 1884391"/>
                  <a:gd name="connsiteX3" fmla="*/ 1872760 w 1872760"/>
                  <a:gd name="connsiteY3" fmla="*/ 600542 h 1884391"/>
                  <a:gd name="connsiteX4" fmla="*/ 1872760 w 1872760"/>
                  <a:gd name="connsiteY4" fmla="*/ 1884391 h 1884391"/>
                  <a:gd name="connsiteX5" fmla="*/ 0 w 1872760"/>
                  <a:gd name="connsiteY5" fmla="*/ 11631 h 1884391"/>
                  <a:gd name="connsiteX6" fmla="*/ 588 w 1872760"/>
                  <a:gd name="connsiteY6" fmla="*/ 0 h 1884391"/>
                  <a:gd name="connsiteX0" fmla="*/ 588 w 1872760"/>
                  <a:gd name="connsiteY0" fmla="*/ 2303 h 1886694"/>
                  <a:gd name="connsiteX1" fmla="*/ 1289433 w 1872760"/>
                  <a:gd name="connsiteY1" fmla="*/ 0 h 1886694"/>
                  <a:gd name="connsiteX2" fmla="*/ 1871663 w 1872760"/>
                  <a:gd name="connsiteY2" fmla="*/ 602955 h 1886694"/>
                  <a:gd name="connsiteX3" fmla="*/ 1872760 w 1872760"/>
                  <a:gd name="connsiteY3" fmla="*/ 602845 h 1886694"/>
                  <a:gd name="connsiteX4" fmla="*/ 1872760 w 1872760"/>
                  <a:gd name="connsiteY4" fmla="*/ 1886694 h 1886694"/>
                  <a:gd name="connsiteX5" fmla="*/ 0 w 1872760"/>
                  <a:gd name="connsiteY5" fmla="*/ 13934 h 1886694"/>
                  <a:gd name="connsiteX6" fmla="*/ 588 w 1872760"/>
                  <a:gd name="connsiteY6" fmla="*/ 2303 h 1886694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600652 h 1884391"/>
                  <a:gd name="connsiteX3" fmla="*/ 1872760 w 1872760"/>
                  <a:gd name="connsiteY3" fmla="*/ 600542 h 1884391"/>
                  <a:gd name="connsiteX4" fmla="*/ 1872760 w 1872760"/>
                  <a:gd name="connsiteY4" fmla="*/ 1884391 h 1884391"/>
                  <a:gd name="connsiteX5" fmla="*/ 0 w 1872760"/>
                  <a:gd name="connsiteY5" fmla="*/ 11631 h 1884391"/>
                  <a:gd name="connsiteX6" fmla="*/ 588 w 1872760"/>
                  <a:gd name="connsiteY6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60065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589138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589138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55963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318267 w 1872760"/>
                  <a:gd name="connsiteY1" fmla="*/ 0 h 1884391"/>
                  <a:gd name="connsiteX2" fmla="*/ 1871663 w 1872760"/>
                  <a:gd name="connsiteY2" fmla="*/ 55963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318267 w 1872760"/>
                  <a:gd name="connsiteY1" fmla="*/ 0 h 1884391"/>
                  <a:gd name="connsiteX2" fmla="*/ 1871663 w 1872760"/>
                  <a:gd name="connsiteY2" fmla="*/ 55963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2760" h="1884391">
                    <a:moveTo>
                      <a:pt x="588" y="0"/>
                    </a:moveTo>
                    <a:lnTo>
                      <a:pt x="1318267" y="0"/>
                    </a:lnTo>
                    <a:cubicBezTo>
                      <a:pt x="1334187" y="329049"/>
                      <a:pt x="1535326" y="550420"/>
                      <a:pt x="1871663" y="559632"/>
                    </a:cubicBezTo>
                    <a:cubicBezTo>
                      <a:pt x="1872029" y="987545"/>
                      <a:pt x="1872394" y="1456478"/>
                      <a:pt x="1872760" y="1884391"/>
                    </a:cubicBezTo>
                    <a:cubicBezTo>
                      <a:pt x="838463" y="1884391"/>
                      <a:pt x="0" y="1045928"/>
                      <a:pt x="0" y="11631"/>
                    </a:cubicBezTo>
                    <a:lnTo>
                      <a:pt x="588" y="0"/>
                    </a:lnTo>
                    <a:close/>
                  </a:path>
                </a:pathLst>
              </a:custGeom>
              <a:solidFill>
                <a:schemeClr val="bg1">
                  <a:alpha val="3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TextBox 63"/>
              <p:cNvSpPr txBox="1"/>
              <p:nvPr/>
            </p:nvSpPr>
            <p:spPr>
              <a:xfrm>
                <a:off x="3688039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 dirty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1</a:t>
                </a:r>
              </a:p>
            </p:txBody>
          </p:sp>
          <p:sp>
            <p:nvSpPr>
              <p:cNvPr id="45" name="TextBox 64"/>
              <p:cNvSpPr txBox="1"/>
              <p:nvPr/>
            </p:nvSpPr>
            <p:spPr>
              <a:xfrm>
                <a:off x="3958063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2</a:t>
                </a:r>
              </a:p>
            </p:txBody>
          </p:sp>
          <p:sp>
            <p:nvSpPr>
              <p:cNvPr id="46" name="TextBox 65"/>
              <p:cNvSpPr txBox="1"/>
              <p:nvPr/>
            </p:nvSpPr>
            <p:spPr>
              <a:xfrm>
                <a:off x="4220589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3</a:t>
                </a:r>
              </a:p>
            </p:txBody>
          </p:sp>
          <p:sp>
            <p:nvSpPr>
              <p:cNvPr id="47" name="TextBox 66"/>
              <p:cNvSpPr txBox="1"/>
              <p:nvPr/>
            </p:nvSpPr>
            <p:spPr>
              <a:xfrm>
                <a:off x="4476915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 dirty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4</a:t>
                </a:r>
              </a:p>
            </p:txBody>
          </p:sp>
          <p:sp>
            <p:nvSpPr>
              <p:cNvPr id="48" name="TextBox 67"/>
              <p:cNvSpPr txBox="1"/>
              <p:nvPr/>
            </p:nvSpPr>
            <p:spPr>
              <a:xfrm>
                <a:off x="2830520" y="2999205"/>
                <a:ext cx="816935" cy="4238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3200" spc="-300" dirty="0" smtClean="0">
                    <a:solidFill>
                      <a:schemeClr val="bg2">
                        <a:lumMod val="25000"/>
                      </a:schemeClr>
                    </a:solidFill>
                    <a:latin typeface="Arial Black" panose="020B0A04020102020204" pitchFamily="34" charset="0"/>
                    <a:cs typeface="Times New Roman" panose="02020603050405020304" pitchFamily="18" charset="0"/>
                  </a:rPr>
                  <a:t>2019</a:t>
                </a:r>
                <a:endParaRPr lang="en-US" sz="3200" spc="-300" dirty="0">
                  <a:solidFill>
                    <a:schemeClr val="bg2">
                      <a:lumMod val="25000"/>
                    </a:schemeClr>
                  </a:solidFill>
                  <a:latin typeface="Arial Black" panose="020B0A0402010202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6" name="Group 858"/>
            <p:cNvGrpSpPr/>
            <p:nvPr/>
          </p:nvGrpSpPr>
          <p:grpSpPr>
            <a:xfrm>
              <a:off x="773183" y="2110981"/>
              <a:ext cx="10645634" cy="2636038"/>
              <a:chOff x="608249" y="2110981"/>
              <a:chExt cx="10645634" cy="2636038"/>
            </a:xfrm>
          </p:grpSpPr>
          <p:grpSp>
            <p:nvGrpSpPr>
              <p:cNvPr id="7" name="Group 857"/>
              <p:cNvGrpSpPr/>
              <p:nvPr/>
            </p:nvGrpSpPr>
            <p:grpSpPr>
              <a:xfrm>
                <a:off x="608249" y="2110981"/>
                <a:ext cx="2663436" cy="2636038"/>
                <a:chOff x="608249" y="678258"/>
                <a:chExt cx="2663436" cy="2636038"/>
              </a:xfrm>
            </p:grpSpPr>
            <p:grpSp>
              <p:nvGrpSpPr>
                <p:cNvPr id="23" name="Group 852"/>
                <p:cNvGrpSpPr/>
                <p:nvPr/>
              </p:nvGrpSpPr>
              <p:grpSpPr>
                <a:xfrm>
                  <a:off x="608249" y="678258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31" name="Group 851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35" name="Rectangle 56"/>
                    <p:cNvSpPr/>
                    <p:nvPr>
                      <p:custDataLst>
                        <p:tags r:id="rId4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36" name="TextBox 57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1CBBB3"/>
                          </a:solidFill>
                          <a:latin typeface="Arial Black" panose="020B0A04020102020204" pitchFamily="34" charset="0"/>
                        </a:rPr>
                        <a:t>70%</a:t>
                      </a:r>
                    </a:p>
                  </p:txBody>
                </p:sp>
              </p:grpSp>
              <p:sp>
                <p:nvSpPr>
                  <p:cNvPr id="32" name="TextBox 113"/>
                  <p:cNvSpPr txBox="1"/>
                  <p:nvPr/>
                </p:nvSpPr>
                <p:spPr>
                  <a:xfrm>
                    <a:off x="6811983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1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33" name="Straight Connector 848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Straight Connector 124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4" name="Group 127"/>
                <p:cNvGrpSpPr/>
                <p:nvPr/>
              </p:nvGrpSpPr>
              <p:grpSpPr>
                <a:xfrm>
                  <a:off x="608249" y="2124270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25" name="Group 128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29" name="Rectangle 132"/>
                    <p:cNvSpPr/>
                    <p:nvPr>
                      <p:custDataLst>
                        <p:tags r:id="rId3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30" name="TextBox 133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A632C5"/>
                          </a:solidFill>
                          <a:latin typeface="Arial Black" panose="020B0A04020102020204" pitchFamily="34" charset="0"/>
                        </a:rPr>
                        <a:t>65%</a:t>
                      </a:r>
                    </a:p>
                  </p:txBody>
                </p:sp>
              </p:grpSp>
              <p:sp>
                <p:nvSpPr>
                  <p:cNvPr id="26" name="TextBox 129"/>
                  <p:cNvSpPr txBox="1"/>
                  <p:nvPr/>
                </p:nvSpPr>
                <p:spPr>
                  <a:xfrm>
                    <a:off x="6811983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2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27" name="Straight Connector 130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Straight Connector 131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8" name="Group 855"/>
              <p:cNvGrpSpPr/>
              <p:nvPr/>
            </p:nvGrpSpPr>
            <p:grpSpPr>
              <a:xfrm>
                <a:off x="8590447" y="2110982"/>
                <a:ext cx="2663436" cy="2636037"/>
                <a:chOff x="608249" y="3570282"/>
                <a:chExt cx="2663436" cy="2636037"/>
              </a:xfrm>
            </p:grpSpPr>
            <p:grpSp>
              <p:nvGrpSpPr>
                <p:cNvPr id="9" name="Group 134"/>
                <p:cNvGrpSpPr/>
                <p:nvPr/>
              </p:nvGrpSpPr>
              <p:grpSpPr>
                <a:xfrm>
                  <a:off x="608249" y="3570282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17" name="Group 135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21" name="Rectangle 139"/>
                    <p:cNvSpPr/>
                    <p:nvPr>
                      <p:custDataLst>
                        <p:tags r:id="rId2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22" name="TextBox 140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F1487F"/>
                          </a:solidFill>
                          <a:latin typeface="Arial Black" panose="020B0A04020102020204" pitchFamily="34" charset="0"/>
                        </a:rPr>
                        <a:t>55%</a:t>
                      </a:r>
                    </a:p>
                  </p:txBody>
                </p:sp>
              </p:grpSp>
              <p:sp>
                <p:nvSpPr>
                  <p:cNvPr id="18" name="TextBox 136"/>
                  <p:cNvSpPr txBox="1"/>
                  <p:nvPr/>
                </p:nvSpPr>
                <p:spPr>
                  <a:xfrm>
                    <a:off x="6811982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3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19" name="Straight Connector 137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" name="Straight Connector 138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" name="Group 141"/>
                <p:cNvGrpSpPr/>
                <p:nvPr/>
              </p:nvGrpSpPr>
              <p:grpSpPr>
                <a:xfrm>
                  <a:off x="608249" y="5016293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11" name="Group 142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15" name="Rectangle 146"/>
                    <p:cNvSpPr/>
                    <p:nvPr>
                      <p:custDataLst>
                        <p:tags r:id="rId1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16" name="TextBox 147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44546A"/>
                          </a:solidFill>
                          <a:latin typeface="Arial Black" panose="020B0A04020102020204" pitchFamily="34" charset="0"/>
                        </a:rPr>
                        <a:t>45%</a:t>
                      </a:r>
                    </a:p>
                  </p:txBody>
                </p:sp>
              </p:grpSp>
              <p:sp>
                <p:nvSpPr>
                  <p:cNvPr id="12" name="TextBox 143"/>
                  <p:cNvSpPr txBox="1"/>
                  <p:nvPr/>
                </p:nvSpPr>
                <p:spPr>
                  <a:xfrm>
                    <a:off x="6811982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4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13" name="Straight Connector 144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" name="Straight Connector 145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</p:spTree>
    <p:extLst>
      <p:ext uri="{BB962C8B-B14F-4D97-AF65-F5344CB8AC3E}">
        <p14:creationId xmlns:p14="http://schemas.microsoft.com/office/powerpoint/2010/main" val="3236891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93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3771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</TotalTime>
  <Words>119</Words>
  <Application>Microsoft Office PowerPoint</Application>
  <PresentationFormat>Panorámica</PresentationFormat>
  <Paragraphs>22</Paragraphs>
  <Slides>6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3" baseType="lpstr">
      <vt:lpstr>Arial</vt:lpstr>
      <vt:lpstr>Arial Black</vt:lpstr>
      <vt:lpstr>Arial Narrow</vt:lpstr>
      <vt:lpstr>Calibri</vt:lpstr>
      <vt:lpstr>Calibri Light</vt:lpstr>
      <vt:lpstr>Times New Roman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UAN FELIPE AGUILAR SOTELO</dc:creator>
  <cp:lastModifiedBy>JUAN FELIPE AGUILAR SOTELO</cp:lastModifiedBy>
  <cp:revision>12</cp:revision>
  <dcterms:created xsi:type="dcterms:W3CDTF">2018-11-30T16:08:44Z</dcterms:created>
  <dcterms:modified xsi:type="dcterms:W3CDTF">2019-01-14T13:45:24Z</dcterms:modified>
</cp:coreProperties>
</file>